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86" r:id="rId1"/>
  </p:sldMasterIdLst>
  <p:notesMasterIdLst>
    <p:notesMasterId r:id="rId5"/>
  </p:notesMasterIdLst>
  <p:handoutMasterIdLst>
    <p:handoutMasterId r:id="rId6"/>
  </p:handoutMasterIdLst>
  <p:sldIdLst>
    <p:sldId id="259" r:id="rId2"/>
    <p:sldId id="2147482948" r:id="rId3"/>
    <p:sldId id="2147482936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A0A2BA3C-34B0-426D-BCE0-3508EC9EF79C}">
          <p14:sldIdLst>
            <p14:sldId id="259"/>
          </p14:sldIdLst>
        </p14:section>
        <p14:section name="Bubble chart matrix" id="{760DD745-179B-4AB2-BE07-B72CAB5FD557}">
          <p14:sldIdLst>
            <p14:sldId id="2147482948"/>
          </p14:sldIdLst>
        </p14:section>
        <p14:section name="Advanced" id="{EC6552B0-7B23-4AFF-B5DA-D931277C2319}">
          <p14:sldIdLst>
            <p14:sldId id="214748293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860FFE-66F9-40C2-9441-079C93A324B1}" v="469" dt="2025-12-12T14:11:04.8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7308" autoAdjust="0"/>
  </p:normalViewPr>
  <p:slideViewPr>
    <p:cSldViewPr snapToGrid="0">
      <p:cViewPr varScale="1">
        <p:scale>
          <a:sx n="115" d="100"/>
          <a:sy n="115" d="100"/>
        </p:scale>
        <p:origin x="234" y="3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11547344110854E-2"/>
          <c:y val="2.7282266526757609E-2"/>
          <c:w val="0.96997690531177827"/>
          <c:h val="0.94438614900314799"/>
        </c:manualLayout>
      </c:layout>
      <c:bubbleChart>
        <c:varyColors val="0"/>
        <c:ser>
          <c:idx val="0"/>
          <c:order val="0"/>
          <c:spPr>
            <a:solidFill>
              <a:srgbClr val="004CD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25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xVal>
          <c:yVal>
            <c:numRef>
              <c:f>Sheet1!$B$1:$B$25</c:f>
              <c:numCache>
                <c:formatCode>General</c:formatCode>
                <c:ptCount val="25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yVal>
          <c:bubbleSize>
            <c:numRef>
              <c:f>Sheet1!$C$1:$C$25</c:f>
              <c:numCache>
                <c:formatCode>General</c:formatCode>
                <c:ptCount val="25"/>
                <c:pt idx="0">
                  <c:v>4.1550000000000002</c:v>
                </c:pt>
                <c:pt idx="1">
                  <c:v>0.66310000000000002</c:v>
                </c:pt>
                <c:pt idx="2">
                  <c:v>15.2603000000000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E28A-4C5C-A5A8-51F8AD53B5D6}"/>
            </c:ext>
          </c:extLst>
        </c:ser>
        <c:ser>
          <c:idx val="1"/>
          <c:order val="1"/>
          <c:spPr>
            <a:solidFill>
              <a:srgbClr val="84BBFF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25</c:f>
              <c:numCache>
                <c:formatCode>General</c:formatCode>
                <c:ptCount val="25"/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5</c:v>
                </c:pt>
                <c:pt idx="10">
                  <c:v>1</c:v>
                </c:pt>
                <c:pt idx="11">
                  <c:v>2</c:v>
                </c:pt>
                <c:pt idx="12">
                  <c:v>3</c:v>
                </c:pt>
                <c:pt idx="13">
                  <c:v>4</c:v>
                </c:pt>
              </c:numCache>
            </c:numRef>
          </c:xVal>
          <c:yVal>
            <c:numRef>
              <c:f>Sheet1!$D$1:$D$25</c:f>
              <c:numCache>
                <c:formatCode>General</c:formatCode>
                <c:ptCount val="25"/>
                <c:pt idx="3">
                  <c:v>5</c:v>
                </c:pt>
                <c:pt idx="4">
                  <c:v>5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</c:numCache>
            </c:numRef>
          </c:yVal>
          <c:bubbleSize>
            <c:numRef>
              <c:f>Sheet1!$E$1:$E$25</c:f>
              <c:numCache>
                <c:formatCode>General</c:formatCode>
                <c:ptCount val="25"/>
                <c:pt idx="3">
                  <c:v>8.3979999999999997</c:v>
                </c:pt>
                <c:pt idx="4">
                  <c:v>1.6633</c:v>
                </c:pt>
                <c:pt idx="5">
                  <c:v>11.425599999999999</c:v>
                </c:pt>
                <c:pt idx="6">
                  <c:v>23.680399999999999</c:v>
                </c:pt>
                <c:pt idx="7">
                  <c:v>0.81779999999999997</c:v>
                </c:pt>
                <c:pt idx="8">
                  <c:v>3.536</c:v>
                </c:pt>
                <c:pt idx="9">
                  <c:v>1.2432000000000001</c:v>
                </c:pt>
                <c:pt idx="10">
                  <c:v>22.431999999999999</c:v>
                </c:pt>
                <c:pt idx="11">
                  <c:v>5.1056999999999997</c:v>
                </c:pt>
                <c:pt idx="12">
                  <c:v>63.206000000000003</c:v>
                </c:pt>
                <c:pt idx="13">
                  <c:v>5.547100000000000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E28A-4C5C-A5A8-51F8AD53B5D6}"/>
            </c:ext>
          </c:extLst>
        </c:ser>
        <c:ser>
          <c:idx val="2"/>
          <c:order val="2"/>
          <c:spPr>
            <a:solidFill>
              <a:srgbClr val="DCDCDC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25</c:f>
              <c:numCache>
                <c:formatCode>General</c:formatCode>
                <c:ptCount val="25"/>
                <c:pt idx="14">
                  <c:v>5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4</c:v>
                </c:pt>
                <c:pt idx="19">
                  <c:v>5</c:v>
                </c:pt>
                <c:pt idx="20">
                  <c:v>1</c:v>
                </c:pt>
                <c:pt idx="21">
                  <c:v>2</c:v>
                </c:pt>
                <c:pt idx="22">
                  <c:v>3</c:v>
                </c:pt>
                <c:pt idx="23">
                  <c:v>4</c:v>
                </c:pt>
                <c:pt idx="24">
                  <c:v>5</c:v>
                </c:pt>
              </c:numCache>
            </c:numRef>
          </c:xVal>
          <c:yVal>
            <c:numRef>
              <c:f>Sheet1!$F$1:$F$25</c:f>
              <c:numCache>
                <c:formatCode>General</c:formatCode>
                <c:ptCount val="25"/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</c:numCache>
            </c:numRef>
          </c:yVal>
          <c:bubbleSize>
            <c:numRef>
              <c:f>Sheet1!$G$1:$G$25</c:f>
              <c:numCache>
                <c:formatCode>General</c:formatCode>
                <c:ptCount val="25"/>
                <c:pt idx="14">
                  <c:v>4.8841000000000001</c:v>
                </c:pt>
                <c:pt idx="15">
                  <c:v>28.652899999999999</c:v>
                </c:pt>
                <c:pt idx="16">
                  <c:v>3.0055999999999998</c:v>
                </c:pt>
                <c:pt idx="17">
                  <c:v>10.652200000000001</c:v>
                </c:pt>
                <c:pt idx="18">
                  <c:v>1.5248999999999999</c:v>
                </c:pt>
                <c:pt idx="19">
                  <c:v>10.0113</c:v>
                </c:pt>
                <c:pt idx="20">
                  <c:v>2.5857000000000001</c:v>
                </c:pt>
                <c:pt idx="21">
                  <c:v>1.0056</c:v>
                </c:pt>
                <c:pt idx="22">
                  <c:v>1.5029999999999999</c:v>
                </c:pt>
                <c:pt idx="23">
                  <c:v>31.547999999999998</c:v>
                </c:pt>
                <c:pt idx="24">
                  <c:v>2.298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E28A-4C5C-A5A8-51F8AD53B5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1341804895"/>
        <c:axId val="1"/>
      </c:bubbleChart>
      <c:valAx>
        <c:axId val="1341804895"/>
        <c:scaling>
          <c:orientation val="minMax"/>
          <c:max val="6"/>
          <c:min val="0.5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.5"/>
          <c:min val="0.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41804895"/>
        <c:crosses val="min"/>
        <c:crossBetween val="midCat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67368182846799E-2"/>
          <c:y val="2.4832855778414518E-2"/>
          <c:w val="0.97646526363430641"/>
          <c:h val="0.94699140401146131"/>
        </c:manualLayout>
      </c:layout>
      <c:bubbleChart>
        <c:varyColors val="0"/>
        <c:ser>
          <c:idx val="0"/>
          <c:order val="0"/>
          <c:spPr>
            <a:solidFill>
              <a:srgbClr val="BCD8FF"/>
            </a:solidFill>
            <a:ln>
              <a:noFill/>
            </a:ln>
          </c:spPr>
          <c:invertIfNegative val="0"/>
          <c:xVal>
            <c:numRef>
              <c:f>Sheet1!$A$1:$A$30</c:f>
              <c:numCache>
                <c:formatCode>General</c:formatCode>
                <c:ptCount val="30"/>
                <c:pt idx="0">
                  <c:v>1</c:v>
                </c:pt>
                <c:pt idx="1">
                  <c:v>4</c:v>
                </c:pt>
                <c:pt idx="2">
                  <c:v>2</c:v>
                </c:pt>
              </c:numCache>
            </c:numRef>
          </c:xVal>
          <c:yVal>
            <c:numRef>
              <c:f>Sheet1!$B$1:$B$30</c:f>
              <c:numCache>
                <c:formatCode>General</c:formatCode>
                <c:ptCount val="30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yVal>
          <c:bubbleSize>
            <c:numRef>
              <c:f>Sheet1!$C$1:$C$30</c:f>
              <c:numCache>
                <c:formatCode>General</c:formatCode>
                <c:ptCount val="30"/>
                <c:pt idx="0">
                  <c:v>4.1550000000000002</c:v>
                </c:pt>
                <c:pt idx="1">
                  <c:v>0.66310000000000002</c:v>
                </c:pt>
                <c:pt idx="2">
                  <c:v>15.2603000000000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F2B9-4CEB-B302-A08F8D8C9E11}"/>
            </c:ext>
          </c:extLst>
        </c:ser>
        <c:ser>
          <c:idx val="1"/>
          <c:order val="1"/>
          <c:spPr>
            <a:solidFill>
              <a:srgbClr val="8EC1FF"/>
            </a:solidFill>
            <a:ln>
              <a:noFill/>
            </a:ln>
          </c:spPr>
          <c:invertIfNegative val="0"/>
          <c:xVal>
            <c:numRef>
              <c:f>Sheet1!$A$1:$A$30</c:f>
              <c:numCache>
                <c:formatCode>General</c:formatCode>
                <c:ptCount val="30"/>
                <c:pt idx="3">
                  <c:v>5</c:v>
                </c:pt>
                <c:pt idx="4">
                  <c:v>1</c:v>
                </c:pt>
                <c:pt idx="5">
                  <c:v>2</c:v>
                </c:pt>
                <c:pt idx="6">
                  <c:v>6</c:v>
                </c:pt>
                <c:pt idx="7">
                  <c:v>4</c:v>
                </c:pt>
                <c:pt idx="8">
                  <c:v>1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</c:numCache>
            </c:numRef>
          </c:xVal>
          <c:yVal>
            <c:numRef>
              <c:f>Sheet1!$D$1:$D$30</c:f>
              <c:numCache>
                <c:formatCode>General</c:formatCode>
                <c:ptCount val="30"/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3</c:v>
                </c:pt>
              </c:numCache>
            </c:numRef>
          </c:yVal>
          <c:bubbleSize>
            <c:numRef>
              <c:f>Sheet1!$E$1:$E$30</c:f>
              <c:numCache>
                <c:formatCode>General</c:formatCode>
                <c:ptCount val="30"/>
                <c:pt idx="3">
                  <c:v>1.6633</c:v>
                </c:pt>
                <c:pt idx="4">
                  <c:v>11.425599999999999</c:v>
                </c:pt>
                <c:pt idx="5">
                  <c:v>23.680399999999999</c:v>
                </c:pt>
                <c:pt idx="6">
                  <c:v>0.81779999999999997</c:v>
                </c:pt>
                <c:pt idx="7">
                  <c:v>3.536</c:v>
                </c:pt>
                <c:pt idx="8">
                  <c:v>1.2432000000000001</c:v>
                </c:pt>
                <c:pt idx="9">
                  <c:v>5.1056999999999997</c:v>
                </c:pt>
                <c:pt idx="10">
                  <c:v>63.206000000000003</c:v>
                </c:pt>
                <c:pt idx="11">
                  <c:v>5.547100000000000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F2B9-4CEB-B302-A08F8D8C9E11}"/>
            </c:ext>
          </c:extLst>
        </c:ser>
        <c:ser>
          <c:idx val="2"/>
          <c:order val="2"/>
          <c:spPr>
            <a:solidFill>
              <a:srgbClr val="599EFF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8EC1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2B9-4CEB-B302-A08F8D8C9E11}"/>
              </c:ext>
            </c:extLst>
          </c:dPt>
          <c:dPt>
            <c:idx val="13"/>
            <c:invertIfNegative val="0"/>
            <c:bubble3D val="0"/>
            <c:spPr>
              <a:solidFill>
                <a:srgbClr val="8EC1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2B9-4CEB-B302-A08F8D8C9E11}"/>
              </c:ext>
            </c:extLst>
          </c:dPt>
          <c:xVal>
            <c:numRef>
              <c:f>Sheet1!$A$1:$A$30</c:f>
              <c:numCache>
                <c:formatCode>General</c:formatCode>
                <c:ptCount val="30"/>
                <c:pt idx="12">
                  <c:v>3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5</c:v>
                </c:pt>
                <c:pt idx="17">
                  <c:v>4</c:v>
                </c:pt>
                <c:pt idx="18">
                  <c:v>1</c:v>
                </c:pt>
                <c:pt idx="19">
                  <c:v>5</c:v>
                </c:pt>
                <c:pt idx="20">
                  <c:v>6</c:v>
                </c:pt>
                <c:pt idx="21">
                  <c:v>5</c:v>
                </c:pt>
                <c:pt idx="22">
                  <c:v>3</c:v>
                </c:pt>
                <c:pt idx="23">
                  <c:v>3</c:v>
                </c:pt>
                <c:pt idx="24">
                  <c:v>6</c:v>
                </c:pt>
              </c:numCache>
            </c:numRef>
          </c:xVal>
          <c:yVal>
            <c:numRef>
              <c:f>Sheet1!$F$1:$F$30</c:f>
              <c:numCache>
                <c:formatCode>General</c:formatCode>
                <c:ptCount val="30"/>
                <c:pt idx="12">
                  <c:v>5</c:v>
                </c:pt>
                <c:pt idx="13">
                  <c:v>3</c:v>
                </c:pt>
                <c:pt idx="14">
                  <c:v>2</c:v>
                </c:pt>
                <c:pt idx="15">
                  <c:v>2</c:v>
                </c:pt>
                <c:pt idx="16">
                  <c:v>4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4</c:v>
                </c:pt>
                <c:pt idx="21">
                  <c:v>2</c:v>
                </c:pt>
                <c:pt idx="22">
                  <c:v>2</c:v>
                </c:pt>
                <c:pt idx="23">
                  <c:v>1</c:v>
                </c:pt>
                <c:pt idx="24">
                  <c:v>3</c:v>
                </c:pt>
              </c:numCache>
            </c:numRef>
          </c:yVal>
          <c:bubbleSize>
            <c:numRef>
              <c:f>Sheet1!$G$1:$G$30</c:f>
              <c:numCache>
                <c:formatCode>General</c:formatCode>
                <c:ptCount val="30"/>
                <c:pt idx="12">
                  <c:v>8.3979999999999997</c:v>
                </c:pt>
                <c:pt idx="13">
                  <c:v>22.431999999999999</c:v>
                </c:pt>
                <c:pt idx="14">
                  <c:v>4.8841000000000001</c:v>
                </c:pt>
                <c:pt idx="15">
                  <c:v>28.652899999999999</c:v>
                </c:pt>
                <c:pt idx="16">
                  <c:v>3.0055999999999998</c:v>
                </c:pt>
                <c:pt idx="17">
                  <c:v>10.652200000000001</c:v>
                </c:pt>
                <c:pt idx="18">
                  <c:v>1.5249000000000001</c:v>
                </c:pt>
                <c:pt idx="19">
                  <c:v>10.0113</c:v>
                </c:pt>
                <c:pt idx="20">
                  <c:v>2.5856999999999997</c:v>
                </c:pt>
                <c:pt idx="21">
                  <c:v>1.0056</c:v>
                </c:pt>
                <c:pt idx="22">
                  <c:v>1.5029999999999999</c:v>
                </c:pt>
                <c:pt idx="23">
                  <c:v>31.547999999999998</c:v>
                </c:pt>
                <c:pt idx="24">
                  <c:v>2.298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F2B9-4CEB-B302-A08F8D8C9E11}"/>
            </c:ext>
          </c:extLst>
        </c:ser>
        <c:ser>
          <c:idx val="3"/>
          <c:order val="3"/>
          <c:spPr>
            <a:solidFill>
              <a:srgbClr val="2972FF"/>
            </a:solidFill>
            <a:ln>
              <a:noFill/>
            </a:ln>
          </c:spPr>
          <c:invertIfNegative val="0"/>
          <c:xVal>
            <c:numRef>
              <c:f>Sheet1!$A$1:$A$30</c:f>
              <c:numCache>
                <c:formatCode>General</c:formatCode>
                <c:ptCount val="30"/>
                <c:pt idx="25">
                  <c:v>2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6</c:v>
                </c:pt>
              </c:numCache>
            </c:numRef>
          </c:xVal>
          <c:yVal>
            <c:numRef>
              <c:f>Sheet1!$H$1:$H$30</c:f>
              <c:numCache>
                <c:formatCode>General</c:formatCode>
                <c:ptCount val="30"/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</c:numCache>
            </c:numRef>
          </c:yVal>
          <c:bubbleSize>
            <c:numRef>
              <c:f>Sheet1!$I$1:$I$30</c:f>
              <c:numCache>
                <c:formatCode>General</c:formatCode>
                <c:ptCount val="30"/>
                <c:pt idx="25">
                  <c:v>14.873799999999999</c:v>
                </c:pt>
                <c:pt idx="26">
                  <c:v>2.8066999999999998</c:v>
                </c:pt>
                <c:pt idx="27">
                  <c:v>5.6576000000000004</c:v>
                </c:pt>
                <c:pt idx="28">
                  <c:v>10.939500000000001</c:v>
                </c:pt>
                <c:pt idx="29">
                  <c:v>6.453199999999999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F2B9-4CEB-B302-A08F8D8C9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56"/>
        <c:showNegBubbles val="0"/>
        <c:axId val="309193856"/>
        <c:axId val="1"/>
      </c:bubbleChart>
      <c:valAx>
        <c:axId val="309193856"/>
        <c:scaling>
          <c:orientation val="minMax"/>
          <c:max val="6.5"/>
          <c:min val="0.5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.5"/>
          <c:min val="0.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09193856"/>
        <c:crosses val="min"/>
        <c:crossBetween val="midCat"/>
      </c:valAx>
      <c:spPr>
        <a:noFill/>
        <a:ln w="9525" cmpd="sng" algn="ctr">
          <a:solidFill>
            <a:srgbClr val="969696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 dirty="0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84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961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882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9254196-BA67-C430-4695-4AB891007B3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 of the presentation (max. 1 </a:t>
            </a:r>
            <a:r>
              <a:rPr lang="en-US"/>
              <a:t>line)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2002-2025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| Presenter nam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2B35A80-05CD-5EED-40A5-797C1C80700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70145" y="1162251"/>
            <a:ext cx="1753421" cy="411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39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88175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50" progId="TCLayout.ActiveDocument.1">
                  <p:embed/>
                </p:oleObj>
              </mc:Choice>
              <mc:Fallback>
                <p:oleObj name="think-cell Slide" r:id="rId5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2002-2025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E44C766-B4A1-C6DC-621B-6760FA5CF38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77816" y="350590"/>
            <a:ext cx="1046379" cy="24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9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orient="horz" pos="23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notesSlide" Target="../notesSlides/notesSlide2.xml"/><Relationship Id="rId50" Type="http://schemas.openxmlformats.org/officeDocument/2006/relationships/chart" Target="../charts/chart1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9" Type="http://schemas.openxmlformats.org/officeDocument/2006/relationships/tags" Target="../tags/tag34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image" Target="../media/image4.emf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oleObject" Target="../embeddings/oleObject5.bin"/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1" Type="http://schemas.openxmlformats.org/officeDocument/2006/relationships/tags" Target="../tags/tag6.xml"/><Relationship Id="rId6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76.xml"/><Relationship Id="rId21" Type="http://schemas.openxmlformats.org/officeDocument/2006/relationships/tags" Target="../tags/tag71.xml"/><Relationship Id="rId34" Type="http://schemas.openxmlformats.org/officeDocument/2006/relationships/tags" Target="../tags/tag84.xml"/><Relationship Id="rId42" Type="http://schemas.openxmlformats.org/officeDocument/2006/relationships/tags" Target="../tags/tag92.xml"/><Relationship Id="rId47" Type="http://schemas.openxmlformats.org/officeDocument/2006/relationships/tags" Target="../tags/tag97.xml"/><Relationship Id="rId50" Type="http://schemas.openxmlformats.org/officeDocument/2006/relationships/tags" Target="../tags/tag100.xml"/><Relationship Id="rId55" Type="http://schemas.openxmlformats.org/officeDocument/2006/relationships/tags" Target="../tags/tag105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9" Type="http://schemas.openxmlformats.org/officeDocument/2006/relationships/tags" Target="../tags/tag79.xml"/><Relationship Id="rId11" Type="http://schemas.openxmlformats.org/officeDocument/2006/relationships/tags" Target="../tags/tag61.xml"/><Relationship Id="rId24" Type="http://schemas.openxmlformats.org/officeDocument/2006/relationships/tags" Target="../tags/tag74.xml"/><Relationship Id="rId32" Type="http://schemas.openxmlformats.org/officeDocument/2006/relationships/tags" Target="../tags/tag82.xml"/><Relationship Id="rId37" Type="http://schemas.openxmlformats.org/officeDocument/2006/relationships/tags" Target="../tags/tag87.xml"/><Relationship Id="rId40" Type="http://schemas.openxmlformats.org/officeDocument/2006/relationships/tags" Target="../tags/tag90.xml"/><Relationship Id="rId45" Type="http://schemas.openxmlformats.org/officeDocument/2006/relationships/tags" Target="../tags/tag95.xml"/><Relationship Id="rId53" Type="http://schemas.openxmlformats.org/officeDocument/2006/relationships/tags" Target="../tags/tag103.xml"/><Relationship Id="rId58" Type="http://schemas.openxmlformats.org/officeDocument/2006/relationships/tags" Target="../tags/tag108.xml"/><Relationship Id="rId66" Type="http://schemas.openxmlformats.org/officeDocument/2006/relationships/image" Target="../media/image6.emf"/><Relationship Id="rId5" Type="http://schemas.openxmlformats.org/officeDocument/2006/relationships/tags" Target="../tags/tag55.xml"/><Relationship Id="rId61" Type="http://schemas.openxmlformats.org/officeDocument/2006/relationships/tags" Target="../tags/tag111.xml"/><Relationship Id="rId19" Type="http://schemas.openxmlformats.org/officeDocument/2006/relationships/tags" Target="../tags/tag6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30" Type="http://schemas.openxmlformats.org/officeDocument/2006/relationships/tags" Target="../tags/tag80.xml"/><Relationship Id="rId35" Type="http://schemas.openxmlformats.org/officeDocument/2006/relationships/tags" Target="../tags/tag85.xml"/><Relationship Id="rId43" Type="http://schemas.openxmlformats.org/officeDocument/2006/relationships/tags" Target="../tags/tag93.xml"/><Relationship Id="rId48" Type="http://schemas.openxmlformats.org/officeDocument/2006/relationships/tags" Target="../tags/tag98.xml"/><Relationship Id="rId56" Type="http://schemas.openxmlformats.org/officeDocument/2006/relationships/tags" Target="../tags/tag106.xml"/><Relationship Id="rId64" Type="http://schemas.openxmlformats.org/officeDocument/2006/relationships/notesSlide" Target="../notesSlides/notesSlide3.xml"/><Relationship Id="rId8" Type="http://schemas.openxmlformats.org/officeDocument/2006/relationships/tags" Target="../tags/tag58.xml"/><Relationship Id="rId51" Type="http://schemas.openxmlformats.org/officeDocument/2006/relationships/tags" Target="../tags/tag101.xml"/><Relationship Id="rId3" Type="http://schemas.openxmlformats.org/officeDocument/2006/relationships/tags" Target="../tags/tag53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tags" Target="../tags/tag75.xml"/><Relationship Id="rId33" Type="http://schemas.openxmlformats.org/officeDocument/2006/relationships/tags" Target="../tags/tag83.xml"/><Relationship Id="rId38" Type="http://schemas.openxmlformats.org/officeDocument/2006/relationships/tags" Target="../tags/tag88.xml"/><Relationship Id="rId46" Type="http://schemas.openxmlformats.org/officeDocument/2006/relationships/tags" Target="../tags/tag96.xml"/><Relationship Id="rId59" Type="http://schemas.openxmlformats.org/officeDocument/2006/relationships/tags" Target="../tags/tag109.xml"/><Relationship Id="rId67" Type="http://schemas.openxmlformats.org/officeDocument/2006/relationships/chart" Target="../charts/chart2.xml"/><Relationship Id="rId20" Type="http://schemas.openxmlformats.org/officeDocument/2006/relationships/tags" Target="../tags/tag70.xml"/><Relationship Id="rId41" Type="http://schemas.openxmlformats.org/officeDocument/2006/relationships/tags" Target="../tags/tag91.xml"/><Relationship Id="rId54" Type="http://schemas.openxmlformats.org/officeDocument/2006/relationships/tags" Target="../tags/tag104.xml"/><Relationship Id="rId62" Type="http://schemas.openxmlformats.org/officeDocument/2006/relationships/tags" Target="../tags/tag11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36" Type="http://schemas.openxmlformats.org/officeDocument/2006/relationships/tags" Target="../tags/tag86.xml"/><Relationship Id="rId49" Type="http://schemas.openxmlformats.org/officeDocument/2006/relationships/tags" Target="../tags/tag99.xml"/><Relationship Id="rId57" Type="http://schemas.openxmlformats.org/officeDocument/2006/relationships/tags" Target="../tags/tag107.xml"/><Relationship Id="rId10" Type="http://schemas.openxmlformats.org/officeDocument/2006/relationships/tags" Target="../tags/tag60.xml"/><Relationship Id="rId31" Type="http://schemas.openxmlformats.org/officeDocument/2006/relationships/tags" Target="../tags/tag81.xml"/><Relationship Id="rId44" Type="http://schemas.openxmlformats.org/officeDocument/2006/relationships/tags" Target="../tags/tag94.xml"/><Relationship Id="rId52" Type="http://schemas.openxmlformats.org/officeDocument/2006/relationships/tags" Target="../tags/tag102.xml"/><Relationship Id="rId60" Type="http://schemas.openxmlformats.org/officeDocument/2006/relationships/tags" Target="../tags/tag110.xml"/><Relationship Id="rId65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39" Type="http://schemas.openxmlformats.org/officeDocument/2006/relationships/tags" Target="../tags/tag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5808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5994401" y="2949321"/>
            <a:ext cx="5826124" cy="609398"/>
          </a:xfrm>
        </p:spPr>
        <p:txBody>
          <a:bodyPr vert="horz" rIns="0">
            <a:spAutoFit/>
          </a:bodyPr>
          <a:lstStyle/>
          <a:p>
            <a:r>
              <a:rPr lang="en-US" noProof="0" dirty="0"/>
              <a:t>Bubble chart matrix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think-cell 14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December 2025</a:t>
            </a:r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67111787-0299-B142-BE18-C89E4B473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8B4E34-FF4D-8781-720D-59494850432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001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04" imgH="405" progId="TCLayout.ActiveDocument.1">
                  <p:embed/>
                </p:oleObj>
              </mc:Choice>
              <mc:Fallback>
                <p:oleObj name="think-cell Slide" r:id="rId48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8B4E34-FF4D-8781-720D-594948504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CF5F47-D44D-AC31-24F0-873CB59553F7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GB" dirty="0"/>
              <a:t>Bubble chart matrix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0B607D5-6EBB-D421-FD88-C0516F30B73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9864"/>
              </p:ext>
            </p:extLst>
          </p:nvPr>
        </p:nvGraphicFramePr>
        <p:xfrm>
          <a:off x="2505075" y="2600325"/>
          <a:ext cx="5499100" cy="302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9D907AA-FD9E-7D32-9E23-27CE4375A6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179763" y="2862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A0E3D-FD45-4EAC-B9E4-71A81AE53164}" type="datetime'''''''''''''''''''''''''''''''''''''''''''''''''17%'''">
              <a:rPr lang="en-US" altLang="en-US" sz="1400" smtClean="0"/>
              <a:pPr/>
              <a:t>17%</a:t>
            </a:fld>
            <a:endParaRPr lang="en-US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3C49129-016A-6A64-90EB-123DD691C8E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094163" y="2862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10B407E-294E-4158-849D-47AA407176D2}" type="datetime'''''''''''''16''''''%'''''''''''''''''''''''''''">
              <a:rPr lang="en-US" altLang="en-US" sz="1400" smtClean="0"/>
              <a:pPr/>
              <a:t>16%</a:t>
            </a:fld>
            <a:endParaRPr lang="en-US" sz="14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91B9AE-DA80-C147-BEE3-507AB962A53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03825" y="2862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555D42-8499-4CEC-8CA5-4612443523C9}" type="datetime'1''''''''''6''''''''''''''''''''%'''''''''''''''">
              <a:rPr lang="en-US" altLang="en-US" sz="1400" smtClean="0"/>
              <a:pPr/>
              <a:t>16%</a:t>
            </a:fld>
            <a:endParaRPr lang="en-US" sz="140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48B2E8A-0889-BF7D-0358-A215B1832AC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127750" y="2862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9456FBE-F9FD-40F0-8ADB-5E5C3D96604D}" type="datetime'''1''''''''''''''''''5%'''''''''''''''''''''''''''''''''''''''">
              <a:rPr lang="en-US" altLang="en-US" sz="1400" smtClean="0"/>
              <a:pPr/>
              <a:t>15%</a:t>
            </a:fld>
            <a:endParaRPr 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6CE1A0A-B519-4E56-AC97-1AB11F1EB6A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024688" y="2862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C47E53-2ECA-4B80-BF07-FAD02E5930C5}" type="datetime'''''''''''''14''''''''''''''''''''''''''%'''">
              <a:rPr lang="en-US" altLang="en-US" sz="1400" smtClean="0"/>
              <a:pPr/>
              <a:t>14%</a:t>
            </a:fld>
            <a:endParaRPr 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A6C48CE-E6C1-3997-91B8-096F5CB83B8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240088" y="3433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BD2FCE6-F02F-4A11-826C-9D043708F8D2}" type="datetime'''''''''''''''''''''''''''''''''''''''''''1''''3''''''%'''''''">
              <a:rPr lang="en-US" altLang="en-US" sz="1400" smtClean="0"/>
              <a:pPr/>
              <a:t>13%</a:t>
            </a:fld>
            <a:endParaRPr lang="en-US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1A08884-1662-5BE1-A17B-0A2605A208C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276725" y="3433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532BB97-668B-43A8-8A2B-1B0E7BE2876C}" type="datetime'''''''''''''''''''''''''''''1''''''''''''''''''3''%'''''''''''">
              <a:rPr lang="en-US" altLang="en-US" sz="1400" smtClean="0"/>
              <a:pPr/>
              <a:t>13%</a:t>
            </a:fld>
            <a:endParaRPr lang="en-US" sz="14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9DC6199-6800-DB4D-3D2C-3B3CA36966D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068888" y="3433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E5D5AFD-7DBD-48A2-9A84-C32F1A655AB9}" type="datetime'''''''''''1''''''''''3''''''''''''%'''''''''''">
              <a:rPr lang="en-US" altLang="en-US" sz="1400" smtClean="0"/>
              <a:pPr/>
              <a:t>13%</a:t>
            </a:fld>
            <a:endParaRPr lang="en-US" sz="14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61D573C-A6A3-DA4F-0098-D244F240999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081713" y="3433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D1AAE5-C10E-4896-8C8C-FF381D8521FA}" type="datetime'''''''''''''''13''''''''''''''''''''''''''''''''''''''''%'">
              <a:rPr lang="en-US" altLang="en-US" sz="1400" smtClean="0"/>
              <a:pPr/>
              <a:t>13%</a:t>
            </a:fld>
            <a:endParaRPr lang="en-US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326565-8683-699B-3913-1D5F39FC90AB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018338" y="3433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C0D1E5A-706E-464A-BA63-84771AB09087}" type="datetime'''''''''''''1''''2''''''''''%'''''''''''''''''''''''''''">
              <a:rPr lang="en-US" altLang="en-US" sz="1400" smtClean="0"/>
              <a:pPr/>
              <a:t>12%</a:t>
            </a:fld>
            <a:endParaRPr lang="en-US" sz="14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3186272-3578-D4BC-3EB8-88A39E49F0F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300413" y="4005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0F65DC-B067-4DC7-B647-A7AFE0FC8626}" type="datetime'''''''''''''1''''''''''''''''''''2''''''%'">
              <a:rPr lang="en-US" altLang="en-US" sz="1400" smtClean="0"/>
              <a:pPr/>
              <a:t>12%</a:t>
            </a:fld>
            <a:endParaRPr 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8AF7C81-E511-DC94-8C07-6998AEFBD9DE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159250" y="4005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4EFC15A-1C52-4E39-8484-B68679C6363C}" type="datetime'''''''''''''''1''''''''''2''''''''''''''''''''''''''''''%'">
              <a:rPr lang="en-US" altLang="en-US" sz="1400" smtClean="0"/>
              <a:pPr/>
              <a:t>12%</a:t>
            </a:fld>
            <a:endParaRPr lang="en-US" sz="140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5FB59601-1A0A-7D16-FDDE-670C2BF8721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808538" y="4005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2EDB94-48EC-415F-9913-C42E564103C1}" type="datetime'1''''''''''''''''2''''''%'''''''">
              <a:rPr lang="en-US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40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50DFCF5-5276-C5C7-BBD7-A244889720D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103938" y="4005263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1798955-3300-4CA3-8EBA-EFBCF000D6D2}" type="datetime'''1''''''''''''''''''''''''''''''''''1''''''''''''''%'''">
              <a:rPr lang="en-US" altLang="en-US" sz="1400" smtClean="0"/>
              <a:pPr/>
              <a:t>11%</a:t>
            </a:fld>
            <a:endParaRPr lang="en-US" sz="14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BB9C3DA-3BCB-638A-567A-5D139934425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7067550" y="4005263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3EFEFBA-1237-42D2-9A44-23DECA209543}" type="datetime'''''''''''''''''''''''''''''''''''11''''''''''''''''''''%'''">
              <a:rPr lang="en-US" altLang="en-US" sz="1400" smtClean="0"/>
              <a:pPr/>
              <a:t>11%</a:t>
            </a:fld>
            <a:endParaRPr lang="en-US" sz="1400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D5D30E42-2DE8-4152-825F-C40CF6F5050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874963" y="4576763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58917F-3F25-4C58-9BFA-B5E9A36985F6}" type="datetime'11''%'''''''''''''''''''''''''''''''''''''''''''''''''''">
              <a:rPr lang="en-US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dirty="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C09F902F-DEFC-74EC-6D9C-B297382EA2C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135438" y="4576763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E232C6E-A62D-4D5C-BDFE-EA396100170D}" type="datetime'''''''''''''1''''''1''''''''''''''''%'">
              <a:rPr lang="en-US" altLang="en-US" sz="1400" smtClean="0"/>
              <a:pPr/>
              <a:t>11%</a:t>
            </a:fld>
            <a:endParaRPr lang="en-US" sz="1400" dirty="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E42ED0B1-24C7-06D7-C519-789798DC535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173663" y="4576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AEDE6D1-831C-43D9-817C-8D8422FC79DA}" type="datetime'''''''''''''''''1''''''''''''''''''''''0''''''''''''''''''''%'">
              <a:rPr lang="en-US" altLang="en-US" sz="1400" smtClean="0"/>
              <a:pPr/>
              <a:t>10%</a:t>
            </a:fld>
            <a:endParaRPr lang="en-US" sz="1400" dirty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A270662B-8599-4028-766F-9EC97AA3D4D3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053138" y="4576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CC52252-4C4A-48A0-87CD-C5F565E78314}" type="datetime'1''''0''''''''''''''''''''''''''''%'''''''''''''''''">
              <a:rPr lang="en-US" altLang="en-US" sz="1400" smtClean="0"/>
              <a:pPr/>
              <a:t>10%</a:t>
            </a:fld>
            <a:endParaRPr lang="en-US" sz="1400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B34C0EFD-491E-9C21-2D7B-412264450B1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7110413" y="45767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B14A8DF-FB35-4BDF-AA6A-4713B20713BE}" type="datetime'''''''''''''10''''''''''''''''''%'''">
              <a:rPr lang="en-US" altLang="en-US" sz="1400" smtClean="0"/>
              <a:pPr/>
              <a:t>10%</a:t>
            </a:fld>
            <a:endParaRPr lang="en-US" sz="14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5474649A-686D-F8E1-A98F-A8F29CA64475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160713" y="5148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51B3441-346E-47BA-AC5A-1398361AC6CF}" type="datetime'''''''''1''0''''''''''''''''''%'''''''''''">
              <a:rPr lang="en-US" altLang="en-US" sz="1400" smtClean="0"/>
              <a:pPr/>
              <a:t>10%</a:t>
            </a:fld>
            <a:endParaRPr lang="en-US" sz="14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5455CEB8-7378-4E03-776E-55DAF13EBD13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102100" y="514826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A9D1A1-3F85-4E2A-8D9D-83C74EA36C5C}" type="datetime'''9%'''''''''''''''''''''''''''''''''''''''''''''''">
              <a:rPr lang="en-US" altLang="en-US" sz="1400" smtClean="0"/>
              <a:pPr/>
              <a:t>9%</a:t>
            </a:fld>
            <a:endParaRPr lang="en-US" sz="14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B1620E8-2483-62A0-F358-33FEA77C789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083175" y="514826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1FBCE5A-DC23-4D53-BC55-634027BA644F}" type="datetime'''''''''''9''''%'''''''''''''''''''''''''''''''">
              <a:rPr lang="en-US" altLang="en-US" sz="1400" smtClean="0"/>
              <a:pPr/>
              <a:t>9%</a:t>
            </a:fld>
            <a:endParaRPr lang="en-US" sz="1400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E942B36C-6396-9C50-4509-851BC6CDD2EB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827713" y="514826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6F55A0-CE7C-43B6-B964-AE18363F59FF}" type="datetime'9''''''''''''''''''''''''''%'''''''''''''">
              <a:rPr lang="en-US" altLang="en-US" sz="14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4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527066E9-2180-C2EB-B1FF-B23347D764EC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035800" y="514826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4E30C28-BF98-4225-A253-1664D4AA6F86}" type="datetime'9''''''''''''''''''''''''''''''''''''''''''%'''">
              <a:rPr lang="en-US" altLang="en-US" sz="1400" smtClean="0"/>
              <a:pPr/>
              <a:t>9%</a:t>
            </a:fld>
            <a:endParaRPr lang="en-US" sz="14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7643AD2-6B79-E28F-4F1D-A89659EFDA9E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024813" y="2687638"/>
            <a:ext cx="187325" cy="187325"/>
          </a:xfrm>
          <a:prstGeom prst="ellipse">
            <a:avLst/>
          </a:prstGeom>
          <a:solidFill>
            <a:srgbClr val="004CD4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AE031D8-C2F7-3198-7EB7-580D696708E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024813" y="2951163"/>
            <a:ext cx="187325" cy="187325"/>
          </a:xfrm>
          <a:prstGeom prst="ellipse">
            <a:avLst/>
          </a:prstGeom>
          <a:solidFill>
            <a:srgbClr val="84BBFF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56EB2C2-7AB5-9AB6-52D7-0A2B68B7E728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8024813" y="3214688"/>
            <a:ext cx="187325" cy="187325"/>
          </a:xfrm>
          <a:prstGeom prst="ellipse">
            <a:avLst/>
          </a:prstGeom>
          <a:solidFill>
            <a:srgbClr val="DCDCDC"/>
          </a:solid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1A1D30A-E25A-0ADA-37C0-4C812481A8E3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294688" y="2682875"/>
            <a:ext cx="365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001DAF-FA54-4D98-9B18-70006C310088}" type="datetime'''''''''''''''''''''H''''''''i''''''''g''''''''h'''''">
              <a:rPr lang="en-US" altLang="en-US" sz="1400" smtClean="0">
                <a:effectLst/>
              </a:rPr>
              <a:pPr/>
              <a:t>High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30F338B-5B94-7366-C122-CAEED832A7A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294688" y="2946400"/>
            <a:ext cx="630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9B4AF0A-90B4-4A22-A404-1E97063028A5}" type="datetime'M''''''''''''e''''''''''''''di''''''''''''u''''''''m'''''''">
              <a:rPr lang="en-US" altLang="en-US" sz="1400" smtClean="0">
                <a:effectLst/>
              </a:rPr>
              <a:pPr/>
              <a:t>Medium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1901F46-3682-2DFF-1418-149F01EA00E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8294688" y="3209925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CBCD336-350C-41D9-BEB7-94EF94B9B7BD}" type="datetime'''''''''''''''''''L''''o''''''''w'''''''''''''''''''''''''''''">
              <a:rPr lang="en-US" altLang="en-US" sz="1400" smtClean="0">
                <a:effectLst/>
              </a:rPr>
              <a:pPr/>
              <a:t>Low</a:t>
            </a:fld>
            <a:endParaRPr 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161036-6636-28B5-443F-6EF85F6B576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852613" y="2682875"/>
            <a:ext cx="735013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0025" rIns="0" bIns="19843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1E0D33-105D-4700-BCD1-5CB17C292CC5}" type="datetime'''R''''''a''''''c''''''k''e''''''''''''''''t''''''''''s'">
              <a:rPr lang="en-US" altLang="en-US" sz="1400" smtClean="0">
                <a:effectLst/>
              </a:rPr>
              <a:pPr/>
              <a:t>Rackets</a:t>
            </a:fld>
            <a:endParaRPr 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A95EBBE-EAE4-4B02-7F10-8D785FE45A24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852613" y="3294063"/>
            <a:ext cx="735013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25" rIns="0" bIns="1746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005C8E-DC32-4095-8CF9-732890AE5AC0}" type="datetime'''B''''''a''''''t''s'''''''''''''''''''''''">
              <a:rPr lang="en-US" altLang="en-US" sz="1400" smtClean="0">
                <a:effectLst/>
              </a:rPr>
              <a:pPr/>
              <a:t>Bats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CEC557-7D11-34D5-2147-37DCCF848E2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852613" y="3856038"/>
            <a:ext cx="735013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25" rIns="0" bIns="1746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2F2DF2A-01BF-47E3-9B68-18BA81F3BBBD}" type="datetime'''''''''''''''''G''''l''''''''ov''''''''''''''''e''''''''''s'">
              <a:rPr lang="en-US" altLang="en-US" sz="1400" smtClean="0">
                <a:effectLst/>
              </a:rPr>
              <a:pPr/>
              <a:t>Gloves</a:t>
            </a:fld>
            <a:endParaRPr lang="en-US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782F805-2ED7-6583-09A7-297EA11B522D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852613" y="4418013"/>
            <a:ext cx="735013" cy="560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3038" rIns="0" bIns="1746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1CCAC1D-3E4B-4ADF-8724-914209898433}" type="datetime'H''''''e''''''''''''''''''''l''''''''''''''''me''''t''''s'">
              <a:rPr lang="en-US" altLang="en-US" sz="1400" smtClean="0">
                <a:effectLst/>
              </a:rPr>
              <a:pPr/>
              <a:t>Helmets</a:t>
            </a:fld>
            <a:endParaRPr lang="en-US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C13F2EA-900C-ADDB-4102-15AA69AC07D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852613" y="4978400"/>
            <a:ext cx="735013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25" rIns="0" bIns="1746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67825BE-22E4-4FC2-AA90-8070C0B1074B}" type="datetime'''''S''''''''''''''''''''h''oe''''''''''''''''''s'''''''''''">
              <a:rPr lang="en-US" altLang="en-US" sz="1400" smtClean="0">
                <a:effectLst/>
              </a:rPr>
              <a:pPr/>
              <a:t>Shoes</a:t>
            </a:fld>
            <a:endParaRPr 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C66378B-B5CE-9DB0-B4F9-4789830D03FF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587625" y="2074863"/>
            <a:ext cx="946150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4800" rIns="0" bIns="365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7A5406-5700-49AC-9235-86695B56AB5E}" type="datetime'''''''W''''''''''''''''''''e''''''''''''''st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est</a:t>
            </a:fld>
            <a:endParaRPr lang="en-US" sz="14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C92E28D-403A-02DF-DB04-50407D25392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3533775" y="2074863"/>
            <a:ext cx="1116013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4800" rIns="0" bIns="365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10A9BC-EBB3-4F8D-933B-B77F65525B54}" type="datetime'''C''en''''t''''''r''a''''''''''''''''''''''''l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ntral</a:t>
            </a:fld>
            <a:endParaRPr lang="en-US" sz="14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6470767-3E6C-DE8A-9D07-C76791929832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4649788" y="2074863"/>
            <a:ext cx="1008063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4800" rIns="0" bIns="365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2CBD77-FCEE-42A1-834C-1A2A1A7C8747}" type="datetime'''C''''''o''''''''a''''''''''''''s''''''''''''''''t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ast</a:t>
            </a:fld>
            <a:endParaRPr lang="en-US" sz="1400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9E21435-615F-9FC0-B484-6704BB6E809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5657850" y="2074863"/>
            <a:ext cx="900113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4800" rIns="0" bIns="365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CB9FC0-9E5D-4592-9867-6B9CC8344667}" type="datetime'''''''''''''''''''''''''E''''''a''''''''s''''''''''t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ast</a:t>
            </a:fld>
            <a:endParaRPr lang="en-US" sz="14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DF122EF-E65F-B9D4-CC2D-6E9A538EBD9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6557963" y="2074863"/>
            <a:ext cx="1008063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4800" rIns="0" bIns="365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10BBC9-B155-41E1-9A58-40033EC083D0}" type="datetime'''''S''''o''''''''''u''''''''''''''''''''''t''''''''h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uth</a:t>
            </a:fld>
            <a:endParaRPr lang="en-US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C03CEC-90F8-F1D4-A84C-DE186BF304DA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8162925" y="3694113"/>
            <a:ext cx="276225" cy="276225"/>
          </a:xfrm>
          <a:prstGeom prst="ellipse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mpd="sng" algn="ctr"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8494713" y="3733800"/>
            <a:ext cx="1220788" cy="85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/>
              <a:t>Bubble size</a:t>
            </a:r>
            <a:br>
              <a:rPr lang="en-GB" altLang="en-US" sz="1400" dirty="0"/>
            </a:br>
            <a:r>
              <a:rPr lang="en-GB" altLang="en-US" sz="1400" dirty="0"/>
              <a:t>represents total</a:t>
            </a:r>
            <a:br>
              <a:rPr lang="en-GB" altLang="en-US" sz="1400" dirty="0"/>
            </a:br>
            <a:r>
              <a:rPr lang="en-GB" altLang="en-US" sz="1400" dirty="0"/>
              <a:t>order volume</a:t>
            </a:r>
            <a:endParaRPr lang="en-GB" sz="1400" dirty="0"/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/>
          </a:p>
        </p:txBody>
      </p:sp>
      <p:sp>
        <p:nvSpPr>
          <p:cNvPr id="27" name="tc_columnhead">
            <a:extLst>
              <a:ext uri="{FF2B5EF4-FFF2-40B4-BE49-F238E27FC236}">
                <a16:creationId xmlns:a16="http://schemas.microsoft.com/office/drawing/2014/main" id="{F6CE18CA-B63F-17DC-DC6B-0E0B4EEBDF09}"/>
              </a:ext>
            </a:extLst>
          </p:cNvPr>
          <p:cNvSpPr txBox="1">
            <a:spLocks/>
          </p:cNvSpPr>
          <p:nvPr/>
        </p:nvSpPr>
        <p:spPr>
          <a:xfrm>
            <a:off x="409051" y="1557338"/>
            <a:ext cx="11411473" cy="282573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vert="horz" wrap="square" lIns="0" tIns="0" rIns="0" bIns="36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600" dirty="0">
                <a:solidFill>
                  <a:schemeClr val="tx1"/>
                </a:solidFill>
              </a:rPr>
              <a:t>Double-click on the chart to open the slide workbook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28" name="tc_columnheadline">
            <a:extLst>
              <a:ext uri="{FF2B5EF4-FFF2-40B4-BE49-F238E27FC236}">
                <a16:creationId xmlns:a16="http://schemas.microsoft.com/office/drawing/2014/main" id="{1B9D748A-4328-FFDA-9971-DB82378BFB6B}"/>
              </a:ext>
            </a:extLst>
          </p:cNvPr>
          <p:cNvCxnSpPr>
            <a:cxnSpLocks/>
          </p:cNvCxnSpPr>
          <p:nvPr/>
        </p:nvCxnSpPr>
        <p:spPr>
          <a:xfrm>
            <a:off x="409051" y="1839911"/>
            <a:ext cx="1141147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701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154B1648-73CA-5DF8-D1F5-2EF045B78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1D5A9D-428B-BD54-472E-B358AC4DDBF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17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635" imgH="635" progId="TCLayout.ActiveDocument.1">
                  <p:embed/>
                </p:oleObj>
              </mc:Choice>
              <mc:Fallback>
                <p:oleObj name="think-cell Slide" r:id="rId65" imgW="635" imgH="63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D5A9D-428B-BD54-472E-B358AC4DD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99" name="Straight Connector 898">
            <a:extLst>
              <a:ext uri="{FF2B5EF4-FFF2-40B4-BE49-F238E27FC236}">
                <a16:creationId xmlns:a16="http://schemas.microsoft.com/office/drawing/2014/main" id="{85C76D8D-1C8D-323E-5A68-B37BEFB302C5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765300" y="5183188"/>
            <a:ext cx="6850063" cy="0"/>
          </a:xfrm>
          <a:prstGeom prst="line">
            <a:avLst/>
          </a:prstGeom>
          <a:ln w="9525" cap="flat" cmpd="sng" algn="ctr">
            <a:solidFill>
              <a:srgbClr val="96969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0" name="Straight Connector 899">
            <a:extLst>
              <a:ext uri="{FF2B5EF4-FFF2-40B4-BE49-F238E27FC236}">
                <a16:creationId xmlns:a16="http://schemas.microsoft.com/office/drawing/2014/main" id="{B22DE3B2-5B4E-4981-EE74-906BF212AF0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765300" y="4554538"/>
            <a:ext cx="6850063" cy="0"/>
          </a:xfrm>
          <a:prstGeom prst="line">
            <a:avLst/>
          </a:prstGeom>
          <a:ln w="9525" cap="flat" cmpd="sng" algn="ctr">
            <a:solidFill>
              <a:srgbClr val="96969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1" name="Straight Connector 900">
            <a:extLst>
              <a:ext uri="{FF2B5EF4-FFF2-40B4-BE49-F238E27FC236}">
                <a16:creationId xmlns:a16="http://schemas.microsoft.com/office/drawing/2014/main" id="{44227D34-911E-5146-8D15-9567CEA81C9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765300" y="3924300"/>
            <a:ext cx="6850063" cy="0"/>
          </a:xfrm>
          <a:prstGeom prst="line">
            <a:avLst/>
          </a:prstGeom>
          <a:ln w="9525" cap="flat" cmpd="sng" algn="ctr">
            <a:solidFill>
              <a:srgbClr val="96969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2" name="Straight Connector 901">
            <a:extLst>
              <a:ext uri="{FF2B5EF4-FFF2-40B4-BE49-F238E27FC236}">
                <a16:creationId xmlns:a16="http://schemas.microsoft.com/office/drawing/2014/main" id="{81A2A604-B329-E195-672A-88E875520FF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765300" y="3295650"/>
            <a:ext cx="6850063" cy="0"/>
          </a:xfrm>
          <a:prstGeom prst="line">
            <a:avLst/>
          </a:prstGeom>
          <a:ln w="9525" cap="flat" cmpd="sng" algn="ctr">
            <a:solidFill>
              <a:srgbClr val="96969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108F4854-A5BB-2A3B-25AA-A69A04282BA2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45560202"/>
              </p:ext>
            </p:extLst>
          </p:nvPr>
        </p:nvGraphicFramePr>
        <p:xfrm>
          <a:off x="1682750" y="2582863"/>
          <a:ext cx="7015163" cy="332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923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986463" y="47736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CF3579A-B7E7-453D-95FF-97B8BF30176B}" type="datetime'''''1''''''''0''''''''''''''''''''''''''''''''''%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400" dirty="0"/>
          </a:p>
        </p:txBody>
      </p:sp>
      <p:sp>
        <p:nvSpPr>
          <p:cNvPr id="924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432050" y="540385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BE20BD3-9F8A-4B71-A770-A5CA5D86C569}" type="datetime'''''''''''''''''1''''''''0''''''''''''''''%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400" dirty="0"/>
          </a:p>
        </p:txBody>
      </p:sp>
      <p:sp>
        <p:nvSpPr>
          <p:cNvPr id="925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121525" y="4144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158B80-8C0B-41E3-804D-0A8F39853255}" type="datetime'''''1''0''''''''''''''''''''''''''''''''%''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400" dirty="0"/>
          </a:p>
        </p:txBody>
      </p:sp>
      <p:sp>
        <p:nvSpPr>
          <p:cNvPr id="926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162925" y="3514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C2E9B1D-6FB2-4A2E-BC5C-245AE7A00D62}" type="datetime'''''''''''''''1''''''''''''0''''''''''''''%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GB" sz="1400" dirty="0"/>
          </a:p>
        </p:txBody>
      </p:sp>
      <p:sp>
        <p:nvSpPr>
          <p:cNvPr id="903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275013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39267D-97C4-4889-A174-2B012F21C22F}" type="datetime'''''''''''1''''''6''''''''''''''''''''''''''%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400" dirty="0"/>
          </a:p>
        </p:txBody>
      </p:sp>
      <p:sp>
        <p:nvSpPr>
          <p:cNvPr id="928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714875" y="47736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F34153-1A01-4077-82BC-8EA155F2F3E1}" type="datetime'''''9''''''''''''''''''''''''''''''''''''''''''''%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400" dirty="0"/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465638" y="5394325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0016EC-8018-4028-93E2-AC046721C4C4}" type="datetime'''''''''''''''''''''''''9''''''''''''''%''''''''''''''''''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30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156575" y="414496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B4E883F-F1BF-40A6-B54F-868C60A20C9F}" type="datetime'''''''''''''''9''''''''''''''''''%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400" dirty="0"/>
          </a:p>
        </p:txBody>
      </p:sp>
      <p:sp>
        <p:nvSpPr>
          <p:cNvPr id="931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324225" y="540385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7CA4ED-ADD5-4961-8D61-F2E913155103}" type="datetime'''''''''''''9''''''%''''''''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32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5884863" y="540385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773DCD-5C45-473E-8CD5-1BED794C0B69}" type="datetime'''''''''''''''''''''''''''''''8''''''''%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400" dirty="0"/>
          </a:p>
        </p:txBody>
      </p:sp>
      <p:sp>
        <p:nvSpPr>
          <p:cNvPr id="933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7070725" y="540385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72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169829-F46D-4F90-9F75-7511A49F31B7}" type="datetime'''''''''''''''''''''''''''''''8%''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400" dirty="0"/>
          </a:p>
        </p:txBody>
      </p:sp>
      <p:sp>
        <p:nvSpPr>
          <p:cNvPr id="934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7889875" y="540385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95468E-6CE1-4055-A4D9-65868AFB3515}" type="datetime'''''''8''''''''''''''''''''''''''''''''%''''''''''''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35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8223250" y="47736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E6CAC4-C822-44ED-A1BA-3CB6D99FFA53}" type="datetime'''''''''7''''''''''%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400" dirty="0"/>
          </a:p>
        </p:txBody>
      </p:sp>
      <p:sp>
        <p:nvSpPr>
          <p:cNvPr id="897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482850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CD8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FF73CA-5B11-4522-BBB0-10F0962C91B5}" type="datetime'''''''''''''1''''7''''''%''''''''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GB" sz="1400" dirty="0"/>
          </a:p>
        </p:txBody>
      </p:sp>
      <p:sp>
        <p:nvSpPr>
          <p:cNvPr id="898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829300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FB7507-EDCB-49EB-99B0-2DCC0C0F0BD7}" type="datetime'''''''1''''6''''''''''''''''''%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400" dirty="0"/>
          </a:p>
        </p:txBody>
      </p:sp>
      <p:sp>
        <p:nvSpPr>
          <p:cNvPr id="904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821238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5757E72-F32E-4EA4-836E-83E2C3C53137}" type="datetime'''1''''''''''''''''''''''''''''''''''''5''''''%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GB" sz="1400" dirty="0"/>
          </a:p>
        </p:txBody>
      </p:sp>
      <p:sp>
        <p:nvSpPr>
          <p:cNvPr id="905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7000875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2EFF99E-5BF9-40A7-9CDE-34248EEFE889}" type="datetime'''''''14''''''''''''''''''''''''''''''''''%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GB" sz="1400" dirty="0"/>
          </a:p>
        </p:txBody>
      </p:sp>
      <p:sp>
        <p:nvSpPr>
          <p:cNvPr id="906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568575" y="3514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2EF6A4A-57EC-4C7E-BF9A-66ECE6B519E3}" type="datetime'1''''''''''''''''''''''3''%''''''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GB" sz="1400" dirty="0"/>
          </a:p>
        </p:txBody>
      </p:sp>
      <p:sp>
        <p:nvSpPr>
          <p:cNvPr id="907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275013" y="3514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608435-EF1F-413F-855F-03F561A737EE}" type="datetime'''''13''''''''''''''''''''''%''''''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GB" sz="1400" dirty="0"/>
          </a:p>
        </p:txBody>
      </p:sp>
      <p:sp>
        <p:nvSpPr>
          <p:cNvPr id="908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8118475" y="28844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D1CAB1-D24A-472A-8A10-A12ABF2509E5}" type="datetime'''''''''''1''''''3''''''''''''''''%''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GB" sz="1400" dirty="0"/>
          </a:p>
        </p:txBody>
      </p:sp>
      <p:sp>
        <p:nvSpPr>
          <p:cNvPr id="909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897563" y="3514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B245917-FF72-4C27-B6AA-E460B4DFF11C}" type="datetime'''''''1''''''''''''''''''''3''''''''''%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GB" sz="1400" dirty="0"/>
          </a:p>
        </p:txBody>
      </p:sp>
      <p:sp>
        <p:nvSpPr>
          <p:cNvPr id="910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2424113" y="4144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21893A1-99FD-4E35-84AC-4C152E0F792C}" type="datetime'''''''''''''''''''''''12''''''''''''''''''''''''''''%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400" dirty="0"/>
          </a:p>
        </p:txBody>
      </p:sp>
      <p:sp>
        <p:nvSpPr>
          <p:cNvPr id="911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416425" y="4144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22CE4F-AEF7-4A72-A266-EB41461F330D}" type="datetime'''''''''''1''''''2''''''%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400" dirty="0"/>
          </a:p>
        </p:txBody>
      </p:sp>
      <p:sp>
        <p:nvSpPr>
          <p:cNvPr id="927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6981825" y="47736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0A86E6-1430-4271-B41E-9D8E465F2713}" type="datetime'''''9''''%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GB" sz="1400" dirty="0"/>
          </a:p>
        </p:txBody>
      </p:sp>
      <p:sp>
        <p:nvSpPr>
          <p:cNvPr id="912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638550" y="4144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EC1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E2161CA-C97A-40A0-83A1-DD81D49F5EB9}" type="datetime'''''1''''''''''''''''''''''''''''''''''2''''''''''%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400" dirty="0"/>
          </a:p>
        </p:txBody>
      </p:sp>
      <p:sp>
        <p:nvSpPr>
          <p:cNvPr id="913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416425" y="3514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51D7D0-9306-4244-93E6-3D5F6D14E655}" type="datetime'1''''''''''''''''2''%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GB" sz="1400" dirty="0"/>
          </a:p>
        </p:txBody>
      </p:sp>
      <p:sp>
        <p:nvSpPr>
          <p:cNvPr id="914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5927725" y="4144963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EC1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FA5275-633F-40C3-854D-4FD1F2BBAF9E}" type="datetime'''1''''''''1''''''''''''''''''''''''''''''''''''''''%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400" dirty="0"/>
          </a:p>
        </p:txBody>
      </p:sp>
      <p:sp>
        <p:nvSpPr>
          <p:cNvPr id="915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493963" y="4773613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3739C93-931F-4F2E-B330-5A4909177371}" type="datetime'''''1''''1''''''''%''''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400" dirty="0"/>
          </a:p>
        </p:txBody>
      </p:sp>
      <p:sp>
        <p:nvSpPr>
          <p:cNvPr id="916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281363" y="4773613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948DC7-5310-4ED8-A603-DFFAEA62A9A0}" type="datetime'''1''''''''''''''''''''''''''''1''''''''''''''%''''''''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22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029450" y="3514725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99E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DC5AD43-C331-47E1-B6D6-019552DDCB54}" type="datetime'''''''''''''''''1''''''''''''''''''''''''1''''''''%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400" dirty="0"/>
          </a:p>
        </p:txBody>
      </p:sp>
      <p:sp>
        <p:nvSpPr>
          <p:cNvPr id="944" name="Oval 943">
            <a:extLst>
              <a:ext uri="{FF2B5EF4-FFF2-40B4-BE49-F238E27FC236}">
                <a16:creationId xmlns:a16="http://schemas.microsoft.com/office/drawing/2014/main" id="{E8B355E6-F11F-CEAF-44D7-29914608CF52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8696325" y="3846513"/>
            <a:ext cx="288925" cy="288925"/>
          </a:xfrm>
          <a:prstGeom prst="ellipse">
            <a:avLst/>
          </a:prstGeom>
          <a:solidFill>
            <a:srgbClr val="DBDBD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5" name="Rectangle 944">
            <a:extLst>
              <a:ext uri="{FF2B5EF4-FFF2-40B4-BE49-F238E27FC236}">
                <a16:creationId xmlns:a16="http://schemas.microsoft.com/office/drawing/2014/main" id="{A29175A8-AE10-2C09-C7D0-700E67AAC953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036050" y="3892550"/>
            <a:ext cx="1270000" cy="63817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chemeClr val="tx1"/>
                </a:solidFill>
                <a:effectLst/>
              </a:rPr>
              <a:t>Bubble size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chemeClr val="tx1"/>
                </a:solidFill>
                <a:effectLst/>
              </a:rPr>
              <a:t>represents total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chemeClr val="tx1"/>
                </a:solidFill>
                <a:effectLst/>
              </a:rPr>
              <a:t>order volume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927100" y="1517650"/>
            <a:ext cx="736600" cy="15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1400" dirty="0"/>
          </a:p>
        </p:txBody>
      </p:sp>
      <p:sp>
        <p:nvSpPr>
          <p:cNvPr id="917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1030288" y="2665413"/>
            <a:ext cx="735013" cy="630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19075" rIns="0" bIns="21907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A6C452F-5F1D-44D5-8FAF-C7ACC4282394}" type="datetime'R''''a''''''''''''''c''''k''''''''''''''''et''''''''''''s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Rackets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18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1030288" y="3295650"/>
            <a:ext cx="735013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17488" rIns="0" bIns="21907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D2ADEB-49E6-41EF-8E3C-2695830B86AC}" type="datetime'''''''B''a''''''t''''''''s''''''''''''''''''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Bats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19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030288" y="3924300"/>
            <a:ext cx="735013" cy="630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19075" rIns="0" bIns="21907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F05424B-5AFA-4DB0-8EB5-8BFADB8237F5}" type="datetime'G''l''o''v''''''''''e''''''''''''''''''''''''''''''''s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Gloves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20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030288" y="4554538"/>
            <a:ext cx="735013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19075" rIns="0" bIns="21748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4CB72EC-B165-4F1A-B6B0-3BEBB4CC90C1}" type="datetime'H''e''''''''l''''''''''''''''''''m''''''''e''t''s'''''">
              <a:rPr lang="en-GB" altLang="en-US" sz="1400" smtClean="0">
                <a:solidFill>
                  <a:srgbClr val="000000"/>
                </a:solidFill>
              </a:rPr>
              <a:pPr/>
              <a:t>Helmets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21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030288" y="5183188"/>
            <a:ext cx="735013" cy="630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19075" rIns="0" bIns="21907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59127A-5B41-4FFA-A9DF-172EDAB57556}" type="datetime'''''''''''S''''h''o''''''''e''''''''''s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Shoes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765300" y="2401888"/>
            <a:ext cx="1092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B6642-3048-4ADC-878C-588E8B05B16D}" type="datetime'''''''''W''''''e''''''''''''''''''''''s''''t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est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69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857500" y="2401888"/>
            <a:ext cx="12620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9FC3D3-580D-458E-A2B8-198E19E3F4C4}" type="datetime'''''''''''''''''''''''''C''e''''''''n''''t''ra''''l''''''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ntral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70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119563" y="2401888"/>
            <a:ext cx="1154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0A8A81-6002-41BD-9F00-4CCC675F27B2}" type="datetime'''''C''''''o''a''''s''t''''''''''''''''''''''''''''''''''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ast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71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5273675" y="2401888"/>
            <a:ext cx="1141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36957F-AF2B-439F-A494-D2E4C15DCEAA}" type="datetime'''''''''''''''''''''''M''e''''''''''''''''t''''''r''''o''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tro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6415088" y="2401888"/>
            <a:ext cx="1046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9DED4C-272D-459F-8D8E-5F56103B0BF5}" type="datetime'''''E''''''''''''''''''''''''''''''a''''''''''''st''''''''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ast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73" name="Text Placeholder 2">
            <a:extLst>
              <a:ext uri="{FF2B5EF4-FFF2-40B4-BE49-F238E27FC236}">
                <a16:creationId xmlns:a16="http://schemas.microsoft.com/office/drawing/2014/main" id="{F36E05FB-F13C-4786-3C08-BD3750FBC50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461250" y="2401888"/>
            <a:ext cx="1154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660A2F-E4EF-4844-B541-0599CA61FD63}" type="datetime'''So''u''''''''''''t''''''h'''''">
              <a:rPr lang="en-GB" altLang="en-US" sz="14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uth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942" name="Oval 941">
            <a:extLst>
              <a:ext uri="{FF2B5EF4-FFF2-40B4-BE49-F238E27FC236}">
                <a16:creationId xmlns:a16="http://schemas.microsoft.com/office/drawing/2014/main" id="{7655B760-7E90-6ECC-8359-BDF310E5FE57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742363" y="2665413"/>
            <a:ext cx="187325" cy="187325"/>
          </a:xfrm>
          <a:prstGeom prst="ellipse">
            <a:avLst/>
          </a:prstGeom>
          <a:solidFill>
            <a:srgbClr val="BCD8F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3" name="Oval 942">
            <a:extLst>
              <a:ext uri="{FF2B5EF4-FFF2-40B4-BE49-F238E27FC236}">
                <a16:creationId xmlns:a16="http://schemas.microsoft.com/office/drawing/2014/main" id="{C9FA6605-9C5B-6FB2-05FE-C588ACF5285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8742363" y="2919413"/>
            <a:ext cx="187325" cy="187325"/>
          </a:xfrm>
          <a:prstGeom prst="ellipse">
            <a:avLst/>
          </a:prstGeom>
          <a:solidFill>
            <a:srgbClr val="8EC1F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6" name="Oval 945">
            <a:extLst>
              <a:ext uri="{FF2B5EF4-FFF2-40B4-BE49-F238E27FC236}">
                <a16:creationId xmlns:a16="http://schemas.microsoft.com/office/drawing/2014/main" id="{01A0C4E1-FA71-CA81-C656-1C8B3C52E70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742363" y="3173413"/>
            <a:ext cx="187325" cy="187325"/>
          </a:xfrm>
          <a:prstGeom prst="ellipse">
            <a:avLst/>
          </a:prstGeom>
          <a:solidFill>
            <a:srgbClr val="599EF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7" name="Oval 946">
            <a:extLst>
              <a:ext uri="{FF2B5EF4-FFF2-40B4-BE49-F238E27FC236}">
                <a16:creationId xmlns:a16="http://schemas.microsoft.com/office/drawing/2014/main" id="{E6D94249-CF2C-D3FC-A4DD-A5AA76D8A28F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742363" y="3427413"/>
            <a:ext cx="187325" cy="187325"/>
          </a:xfrm>
          <a:prstGeom prst="ellipse">
            <a:avLst/>
          </a:prstGeom>
          <a:solidFill>
            <a:srgbClr val="2972F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1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012238" y="2676525"/>
            <a:ext cx="365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8B145D-FB2D-4F19-A811-4B82519DE25D}" type="datetime'''''''''''''''''''Hi''''''''g''''''''''h'''''''''''''''">
              <a:rPr lang="en-GB" altLang="en-US" sz="1400" smtClean="0">
                <a:effectLst/>
              </a:rPr>
              <a:pPr/>
              <a:t>High</a:t>
            </a:fld>
            <a:endParaRPr lang="en-GB" sz="1400" dirty="0"/>
          </a:p>
        </p:txBody>
      </p:sp>
      <p:sp>
        <p:nvSpPr>
          <p:cNvPr id="940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9012238" y="2930525"/>
            <a:ext cx="630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C0304A4-0D95-4B52-B579-EAB09E392D25}" type="datetime'''''M''''''''''''ed''''''''i''''u''''m'">
              <a:rPr lang="en-GB" altLang="en-US" sz="1400" smtClean="0">
                <a:effectLst/>
              </a:rPr>
              <a:pPr/>
              <a:t>Medium</a:t>
            </a:fld>
            <a:endParaRPr lang="en-GB" sz="1400" dirty="0"/>
          </a:p>
        </p:txBody>
      </p:sp>
      <p:sp>
        <p:nvSpPr>
          <p:cNvPr id="937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9012237" y="3184525"/>
            <a:ext cx="325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08F0F20-7FE5-4EB6-BDB8-228BE544B14C}" type="datetime'''''''''''''''''''''L''''''''o''''''''''''w'''''''''''''">
              <a:rPr lang="en-GB" altLang="en-US" sz="1400" smtClean="0">
                <a:effectLst/>
              </a:rPr>
              <a:pPr/>
              <a:t>Low</a:t>
            </a:fld>
            <a:endParaRPr lang="en-GB" sz="1400" dirty="0"/>
          </a:p>
        </p:txBody>
      </p:sp>
      <p:sp>
        <p:nvSpPr>
          <p:cNvPr id="939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012238" y="3438525"/>
            <a:ext cx="67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112DDA7-BC34-4A3D-BA9F-FE357AC22506}" type="datetime'''V''''e''''''''''''''r''''''''y ''''''''lo''''w'''''">
              <a:rPr lang="en-GB" altLang="en-US" sz="1400" smtClean="0">
                <a:effectLst/>
              </a:rPr>
              <a:pPr/>
              <a:t>Very low</a:t>
            </a:fld>
            <a:endParaRPr lang="en-GB" sz="1400" dirty="0"/>
          </a:p>
        </p:txBody>
      </p:sp>
      <p:sp>
        <p:nvSpPr>
          <p:cNvPr id="526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899650" y="2665413"/>
            <a:ext cx="10287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365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52889A-FEDC-43AA-9EF8-7D30FABDCE5E}" type="datetime'''''''''&gt;''''''=''''''''''1''''''''''''5%'">
              <a:rPr lang="en-GB" altLang="en-US" sz="1400" smtClean="0">
                <a:solidFill>
                  <a:srgbClr val="00000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=15%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9899650" y="2911475"/>
            <a:ext cx="1028700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4925" rIns="0" bIns="349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03AEA1-56C7-42F4-851D-1DD7D68DEEA1}" type="datetime'''''''''''1''''1''''%'' ''''''''''''''''''-'''' 1''5''''%'">
              <a:rPr lang="en-GB" altLang="en-US" sz="1400" smtClean="0">
                <a:solidFill>
                  <a:srgbClr val="00000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% - 15%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38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899650" y="3173413"/>
            <a:ext cx="102870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D3FB299-1BB3-4990-8F3D-47599C7B333A}" type="datetime'''9''''''''''''''''''''''''%'''' ''-'' ''1''1%'">
              <a:rPr lang="en-GB" altLang="en-US" sz="1400" smtClean="0">
                <a:solidFill>
                  <a:srgbClr val="00000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% - 11%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D2A002D8-E522-D985-CF14-33AD70E7A581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899650" y="3436938"/>
            <a:ext cx="10287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7E4F2F-D5E3-4F82-9870-C545052E15CF}" type="datetime'''''''''''&lt;''9''''''%'''''''''''''''''''''''''''''''''''''''''">
              <a:rPr lang="en-GB" altLang="en-US" sz="1400" smtClean="0">
                <a:solidFill>
                  <a:srgbClr val="00000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lt;9%</a:t>
            </a:fld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10C685-3F77-F0FF-5E74-C4E8A19754F8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GB" dirty="0"/>
              <a:t>Advanced data-driven bubble chart matrix</a:t>
            </a:r>
          </a:p>
        </p:txBody>
      </p:sp>
      <p:sp>
        <p:nvSpPr>
          <p:cNvPr id="25" name="tc_columnhead">
            <a:extLst>
              <a:ext uri="{FF2B5EF4-FFF2-40B4-BE49-F238E27FC236}">
                <a16:creationId xmlns:a16="http://schemas.microsoft.com/office/drawing/2014/main" id="{00F59ABD-3E28-3C90-4F84-3812810FEAFD}"/>
              </a:ext>
            </a:extLst>
          </p:cNvPr>
          <p:cNvSpPr txBox="1">
            <a:spLocks/>
          </p:cNvSpPr>
          <p:nvPr/>
        </p:nvSpPr>
        <p:spPr>
          <a:xfrm>
            <a:off x="409051" y="1557338"/>
            <a:ext cx="11411473" cy="282573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vert="horz" wrap="square" lIns="0" tIns="0" rIns="0" bIns="36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600" dirty="0">
                <a:solidFill>
                  <a:schemeClr val="tx1"/>
                </a:solidFill>
              </a:rPr>
              <a:t>Double-click on the chart to open the slide workbook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26" name="tc_columnheadline">
            <a:extLst>
              <a:ext uri="{FF2B5EF4-FFF2-40B4-BE49-F238E27FC236}">
                <a16:creationId xmlns:a16="http://schemas.microsoft.com/office/drawing/2014/main" id="{4986DA0B-31FB-E1A9-271F-586169B53DDE}"/>
              </a:ext>
            </a:extLst>
          </p:cNvPr>
          <p:cNvCxnSpPr>
            <a:cxnSpLocks/>
          </p:cNvCxnSpPr>
          <p:nvPr/>
        </p:nvCxnSpPr>
        <p:spPr>
          <a:xfrm>
            <a:off x="409051" y="1839911"/>
            <a:ext cx="1141147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659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32687&quot;&gt;&lt;version val=&quot;38528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84&quot; g=&quot;BB&quot; b=&quot;FF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TdIU_exZmqj2DILnPt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rbnRekfXR2gEIG3.Ec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LG.uA4b0GypqmvLVl2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3IONrcgbLPy9Bm9zc8F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v2VXqZEG.Hkded.kGmW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Gla9bj_nEBoatiomq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1Avbj52FKt7afyJUYwl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jV0JwKIu9bFwPFP5ZV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6ZTorCfx9MolE1ZqsjR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fc5c4ac_NTKbgZR6Zu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3YxZJnaM06jzzBaRfV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CL8ntj3aOKkOoQixCgm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EgSfvY4CChqiloJrNSi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5wlDKu7dHkMhxNIy8n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3y0YcI5q5dBEJi4N32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A7I_oD2J1PPStDeOh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71uY1ZWJk0sxrSFEIV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SwgwBjRCV81.YoqcS0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p3aTOZt28CuphzbIIN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oOTWgsPcy7V9ucpYd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fy5N1TqCKlNHCKu4bO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B0CcJuXBVBJjUDepw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5862cLwqd772hCTjB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pvxN7hKQz5ps1zqSiA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b69US.Itaa.usyaGK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o6TivrSYT30Yk1PSZ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GYFnxiRyDaPBR5WOBw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z3GubOxETwphQ33zlS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shd.yIQdhygfa0HxR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PtWggV1iXTYWTgzrW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IEzydWAN_Qm3YYq6m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2v0Xf0KpbpgPC40n18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kq_dLTvpYgg5b5_t.3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yn5keSV0E7W6AOG0vh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CXV7gH_TFGiOwbcMk9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MmNqKUy72ELrCQZD3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vgFfT.4MGoilHit3fb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vm.FOFJEpIcYz_pfn5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7fu1Osgzehd5LucmeO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mZMUsrNu2nuyvgzTDl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fb0pDOzR2BM0xIxJlF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0MUbPkF4KY7s7K28qB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09dUQh66DM8jOV8_og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aVnVuZvZbvvtQaAqH4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zsO3UWojZPJuzKkM8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_6RgcY1Sl5ADNmwUO96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_K1ajZJvGZzrEZG5z4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9Q3URsDcqf0WtdwOh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L9k_a2y1rwkNKaHyot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sIep2MxRaBKJvjql3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AcSjYVX0bR6IjGUSJj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amX.hZevbpJUgeOeA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.so7q5z97CMn1fmy_Y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qtR5HyNW52PfV_38dH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sU5sOBiczEwH7iqtPA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BgMgPLKQAEWb1eQiz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nP8LWd05vuHd1SC1hE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fm__TRes44oRgeI33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kAJ6PPbusjeTbg0x.j2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3JhxzJC3uxcKl5z02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4Cu9A1sU0HMHvHT2sZ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Grn9NsjuG16JnXcOm5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kf0KHXlD8enNBIXJJ5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yQ936dBqg3AQHC.gn.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VgJWV2Wc2y3WrsGGkg8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6f5Kz.6nyKXBHrb3SM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Nm2dnvGZDToy1.RzhL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M0X.jr4aExeDvNEq.gJ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OW8YMkVjeAwtrO3Uc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Tx7IVP015kol6tt.J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_JIRTHps5Ks_J5.jy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hQXxh34M.v6uP9yEWi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aJ7sP2ytacBvL3ZNrY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VN7hje1u5UD4NWUFO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otxVWQbHUJMzKA8p61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H4aQSUUt0vnTZwAc1G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gTPuvLBXKxjszehjGJ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arbC.ZiIHsP.j7Iycn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_.6t.wVf3xxGLn2EKsZ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9i9tij2CzvNru_Re1W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qVHPRmekuVobaN17tm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u9quNn2SapJEOIwpNi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j_42O2NH7espf3onvs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TZm4N28P4qPBbZr9lM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AfkTTE86B8yvzHwr9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LGq7S4mGfgDCsO2Dz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nFTAQO2ex4euITumVX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iy42kIlDjn628KxzIa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SnO_be.LgXiQkrBaOBk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QPWz8it_bw_a1Zo5Kc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P6theWdHFq3qGsPQ2B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CPTLxYiQcJyRpkoJNsD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vnOp_JOCLS3M6bOpCf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Wbgoseb2svSzGBG5JF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i0NvudVWoLd_6H5rvbM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QkD19VLVrAnZFofRDc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fU6AYQyxCE7Ot8bpk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blGQsx_ra8pCnCiI21E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tMv6__HunjeP5nGfUk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1AfBaQNGVaoGA3QE7r9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M0zRvo.OAqexdfy7ey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_4U9YPtcSOiAnDNEQt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fIYyWNuHA_uu3H6IA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SJSSj4oYdQtnbdrsezv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vHkFQWj190jdAPdPnQg"/>
</p:tagLst>
</file>

<file path=ppt/theme/theme1.xml><?xml version="1.0" encoding="utf-8"?>
<a:theme xmlns:a="http://schemas.openxmlformats.org/drawingml/2006/main" name="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08" id="{717477C7-6A37-487B-A4D5-51D378689241}" vid="{30D35FC5-B5D3-4C52-9848-C7AB2E4093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ink-cell template Light 2025</Template>
  <TotalTime>0</TotalTime>
  <Words>134</Words>
  <Application>Microsoft Office PowerPoint</Application>
  <PresentationFormat>Widescreen</PresentationFormat>
  <Paragraphs>9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Symbol</vt:lpstr>
      <vt:lpstr>think-cell 2025</vt:lpstr>
      <vt:lpstr>think-cell Slide</vt:lpstr>
      <vt:lpstr>Bubble chart matrix</vt:lpstr>
      <vt:lpstr>Bubble chart matrix</vt:lpstr>
      <vt:lpstr>Advanced data-driven bubble chart matri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12-12T14:10:33Z</dcterms:created>
  <dcterms:modified xsi:type="dcterms:W3CDTF">2025-12-12T14:11:15Z</dcterms:modified>
</cp:coreProperties>
</file>